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4063" r:id="rId5"/>
  </p:sldMasterIdLst>
  <p:notesMasterIdLst>
    <p:notesMasterId r:id="rId8"/>
  </p:notesMasterIdLst>
  <p:handoutMasterIdLst>
    <p:handoutMasterId r:id="rId9"/>
  </p:handoutMasterIdLst>
  <p:sldIdLst>
    <p:sldId id="4262" r:id="rId6"/>
    <p:sldId id="2147374539" r:id="rId7"/>
  </p:sldIdLst>
  <p:sldSz cx="12192000" cy="6858000"/>
  <p:notesSz cx="7010400" cy="9296400"/>
  <p:embeddedFontLst>
    <p:embeddedFont>
      <p:font typeface="Arial Narrow" panose="020B0606020202030204" pitchFamily="34" charset="0"/>
      <p:regular r:id="rId10"/>
      <p:bold r:id="rId11"/>
      <p:italic r:id="rId12"/>
      <p:boldItalic r:id="rId13"/>
    </p:embeddedFont>
    <p:embeddedFont>
      <p:font typeface="Century Gothic" panose="020B0502020202020204" pitchFamily="34" charset="0"/>
      <p:regular r:id="rId14"/>
      <p:bold r:id="rId15"/>
      <p:italic r:id="rId16"/>
      <p:boldItalic r:id="rId17"/>
    </p:embeddedFont>
    <p:embeddedFont>
      <p:font typeface="PTCRaleway" panose="020B0604020202020204" charset="0"/>
      <p:regular r:id="rId18"/>
      <p:bold r:id="rId19"/>
      <p:italic r:id="rId20"/>
      <p:boldItalic r:id="rId21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633" autoAdjust="0"/>
  </p:normalViewPr>
  <p:slideViewPr>
    <p:cSldViewPr snapToGrid="0" snapToObjects="1">
      <p:cViewPr varScale="1">
        <p:scale>
          <a:sx n="76" d="100"/>
          <a:sy n="76" d="100"/>
        </p:scale>
        <p:origin x="869" y="6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12.fntdata"/><Relationship Id="rId7" Type="http://schemas.openxmlformats.org/officeDocument/2006/relationships/slide" Target="slides/slide2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2.fntdata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6.fntdata"/><Relationship Id="rId23" Type="http://schemas.openxmlformats.org/officeDocument/2006/relationships/presProps" Target="pres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9F7170C3-B0C6-41C5-9F59-8E1A63C9C4A2}"/>
    <pc:docChg chg="modSld">
      <pc:chgData name="Vasilis Karastergios" userId="2aa9c0a1-323b-48aa-83e0-abc8de3a69d0" providerId="ADAL" clId="{9F7170C3-B0C6-41C5-9F59-8E1A63C9C4A2}" dt="2024-02-14T08:13:45.118" v="2" actId="20577"/>
      <pc:docMkLst>
        <pc:docMk/>
      </pc:docMkLst>
      <pc:sldChg chg="modSp mod">
        <pc:chgData name="Vasilis Karastergios" userId="2aa9c0a1-323b-48aa-83e0-abc8de3a69d0" providerId="ADAL" clId="{9F7170C3-B0C6-41C5-9F59-8E1A63C9C4A2}" dt="2024-02-14T08:13:45.118" v="2" actId="20577"/>
        <pc:sldMkLst>
          <pc:docMk/>
          <pc:sldMk cId="188880053" sldId="4262"/>
        </pc:sldMkLst>
        <pc:spChg chg="mod">
          <ac:chgData name="Vasilis Karastergios" userId="2aa9c0a1-323b-48aa-83e0-abc8de3a69d0" providerId="ADAL" clId="{9F7170C3-B0C6-41C5-9F59-8E1A63C9C4A2}" dt="2024-02-14T08:13:45.118" v="2" actId="20577"/>
          <ac:spMkLst>
            <pc:docMk/>
            <pc:sldMk cId="188880053" sldId="4262"/>
            <ac:spMk id="5" creationId="{00000000-0000-0000-0000-000000000000}"/>
          </ac:spMkLst>
        </pc:spChg>
      </pc:sldChg>
      <pc:sldChg chg="modNotesTx">
        <pc:chgData name="Vasilis Karastergios" userId="2aa9c0a1-323b-48aa-83e0-abc8de3a69d0" providerId="ADAL" clId="{9F7170C3-B0C6-41C5-9F59-8E1A63C9C4A2}" dt="2024-02-14T08:13:09.053" v="0" actId="6549"/>
        <pc:sldMkLst>
          <pc:docMk/>
          <pc:sldMk cId="3370560921" sldId="2147374539"/>
        </pc:sldMkLst>
      </pc:sldChg>
    </pc:docChg>
  </pc:docChgLst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  <pc:docChgLst>
    <pc:chgData name="Vasilis Karastergios" userId="2aa9c0a1-323b-48aa-83e0-abc8de3a69d0" providerId="ADAL" clId="{3A3D5ACB-750C-4195-899B-466533442B0B}"/>
    <pc:docChg chg="undo custSel addSld delSld modSld">
      <pc:chgData name="Vasilis Karastergios" userId="2aa9c0a1-323b-48aa-83e0-abc8de3a69d0" providerId="ADAL" clId="{3A3D5ACB-750C-4195-899B-466533442B0B}" dt="2022-09-14T08:20:17.413" v="6" actId="47"/>
      <pc:docMkLst>
        <pc:docMk/>
      </pc:docMkLst>
      <pc:sldChg chg="delSp mod">
        <pc:chgData name="Vasilis Karastergios" userId="2aa9c0a1-323b-48aa-83e0-abc8de3a69d0" providerId="ADAL" clId="{3A3D5ACB-750C-4195-899B-466533442B0B}" dt="2022-09-14T07:08:55.372" v="1" actId="478"/>
        <pc:sldMkLst>
          <pc:docMk/>
          <pc:sldMk cId="414466384" sldId="256"/>
        </pc:sldMkLst>
        <pc:spChg chg="del">
          <ac:chgData name="Vasilis Karastergios" userId="2aa9c0a1-323b-48aa-83e0-abc8de3a69d0" providerId="ADAL" clId="{3A3D5ACB-750C-4195-899B-466533442B0B}" dt="2022-09-14T07:08:53.996" v="0" actId="478"/>
          <ac:spMkLst>
            <pc:docMk/>
            <pc:sldMk cId="414466384" sldId="256"/>
            <ac:spMk id="6" creationId="{CB2687C6-2C40-4DA8-B634-FB273BDBD706}"/>
          </ac:spMkLst>
        </pc:spChg>
        <pc:spChg chg="del">
          <ac:chgData name="Vasilis Karastergios" userId="2aa9c0a1-323b-48aa-83e0-abc8de3a69d0" providerId="ADAL" clId="{3A3D5ACB-750C-4195-899B-466533442B0B}" dt="2022-09-14T07:08:55.372" v="1" actId="478"/>
          <ac:spMkLst>
            <pc:docMk/>
            <pc:sldMk cId="414466384" sldId="256"/>
            <ac:spMk id="7" creationId="{E1EF294E-1A80-450E-8536-7C781397D58A}"/>
          </ac:spMkLst>
        </pc:spChg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4094293267" sldId="26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71868114" sldId="26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029366665" sldId="26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738032135" sldId="27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254172494" sldId="27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05666042" sldId="27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63628684" sldId="27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99616190" sldId="27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919623369" sldId="27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4257292052" sldId="27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53453059" sldId="27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508150877" sldId="27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25649633" sldId="27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997951892" sldId="28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92660530" sldId="28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6095818" sldId="28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14216803" sldId="28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882189469" sldId="28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695834442" sldId="28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22525265" sldId="28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787121163" sldId="29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149996595" sldId="29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304444699" sldId="29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87686022" sldId="29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937607177" sldId="29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99592187" sldId="29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37230950" sldId="29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5664574" sldId="29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362471767" sldId="29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135937029" sldId="30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623953556" sldId="30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318941235" sldId="30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270403626" sldId="30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697543259" sldId="30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133282100" sldId="30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501544537" sldId="30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572733746" sldId="307"/>
        </pc:sldMkLst>
      </pc:sldChg>
      <pc:sldChg chg="del">
        <pc:chgData name="Vasilis Karastergios" userId="2aa9c0a1-323b-48aa-83e0-abc8de3a69d0" providerId="ADAL" clId="{3A3D5ACB-750C-4195-899B-466533442B0B}" dt="2022-09-14T08:20:17.413" v="6" actId="47"/>
        <pc:sldMkLst>
          <pc:docMk/>
          <pc:sldMk cId="1657070728" sldId="308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85198492" sldId="314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354864347" sldId="31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39142375" sldId="317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35946654" sldId="318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59037265" sldId="319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614332943" sldId="32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769370881" sldId="32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49512705" sldId="32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51169478" sldId="325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888175597" sldId="32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228136347" sldId="33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76781885" sldId="34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014045341" sldId="34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02961565" sldId="34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223258149" sldId="34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287804751" sldId="351"/>
        </pc:sldMkLst>
      </pc:sldChg>
      <pc:sldChg chg="add del">
        <pc:chgData name="Vasilis Karastergios" userId="2aa9c0a1-323b-48aa-83e0-abc8de3a69d0" providerId="ADAL" clId="{3A3D5ACB-750C-4195-899B-466533442B0B}" dt="2022-09-14T08:16:24.087" v="3" actId="47"/>
        <pc:sldMkLst>
          <pc:docMk/>
          <pc:sldMk cId="597429365" sldId="373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672931568" sldId="37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961241260" sldId="360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222589753" sldId="361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732362419" sldId="361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036268873" sldId="3617"/>
        </pc:sldMkLst>
      </pc:sldChg>
      <pc:sldChg chg="add del">
        <pc:chgData name="Vasilis Karastergios" userId="2aa9c0a1-323b-48aa-83e0-abc8de3a69d0" providerId="ADAL" clId="{3A3D5ACB-750C-4195-899B-466533442B0B}" dt="2022-09-14T08:16:24.087" v="3" actId="47"/>
        <pc:sldMkLst>
          <pc:docMk/>
          <pc:sldMk cId="4133373926" sldId="361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90288003" sldId="362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182045187" sldId="362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70707387" sldId="426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261095948" sldId="426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878334215" sldId="4269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901603402" sldId="427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00956671" sldId="427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009971067" sldId="427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44139227" sldId="4273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586647777" sldId="4274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215098397" sldId="4275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776648146" sldId="427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26397490" sldId="427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4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4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When refinement is near complete and designs are no longer subject to drastic or frequent change, more detailed “high-fidelity” analysis is performed using Ansys Simulation to generate highly accurate results</a:t>
            </a:r>
          </a:p>
          <a:p>
            <a:pPr marL="4000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At this point, analysis may be turned over to specialist and experts that are more suited to perform “detailed” analysis  </a:t>
            </a:r>
          </a:p>
          <a:p>
            <a:pPr marL="4000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The setup information from Simulation Live can be directly used in Ansys Simulation eliminating any rework</a:t>
            </a:r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50259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37E36-7D7C-4671-B3B8-2BFBF9F6F7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3722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3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4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 dpi="0" rotWithShape="1">
            <a:blip r:embed="rId4"/>
            <a:srcRect/>
            <a:stretch>
              <a:fillRect l="-1000" t="-2000"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67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 dpi="0" rotWithShape="1">
            <a:blip r:embed="rId4"/>
            <a:srcRect/>
            <a:stretch>
              <a:fillRect l="-6000" t="-2000" r="-10000"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843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40E846-1D5C-4E41-B0F7-5EC3673E0D47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91440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</a:endParaRPr>
          </a:p>
        </p:txBody>
      </p:sp>
      <p:sp>
        <p:nvSpPr>
          <p:cNvPr id="20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92016" y="2730899"/>
            <a:ext cx="6113720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647C623-B09A-46D5-BE23-B5285BBAD043}"/>
              </a:ext>
            </a:extLst>
          </p:cNvPr>
          <p:cNvCxnSpPr/>
          <p:nvPr/>
        </p:nvCxnSpPr>
        <p:spPr>
          <a:xfrm>
            <a:off x="4080163" y="1054677"/>
            <a:ext cx="0" cy="475488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0D03874-045E-487B-95DF-2D080FE61FFD}"/>
              </a:ext>
            </a:extLst>
          </p:cNvPr>
          <p:cNvSpPr/>
          <p:nvPr/>
        </p:nvSpPr>
        <p:spPr>
          <a:xfrm flipH="1" flipV="1">
            <a:off x="510776" y="2887137"/>
            <a:ext cx="96012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860E4D6-2036-44DC-984D-7A163253F7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3225800"/>
            <a:ext cx="3414712" cy="502061"/>
          </a:xfrm>
        </p:spPr>
        <p:txBody>
          <a:bodyPr vert="horz" wrap="square" lIns="0" tIns="9525" rIns="0" bIns="0" rtlCol="0" anchor="t" anchorCtr="0">
            <a:spAutoFit/>
          </a:bodyPr>
          <a:lstStyle>
            <a:lvl1pPr marL="0" indent="0">
              <a:buFontTx/>
              <a:buNone/>
              <a:defRPr lang="en-US" sz="4000" b="1" cap="all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EFD8A7B-D58D-4112-B693-C03F32A43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436B54C1-653F-4869-947F-6C172CCB93A1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5" name="Freeform 4">
            <a:extLst>
              <a:ext uri="{FF2B5EF4-FFF2-40B4-BE49-F238E27FC236}">
                <a16:creationId xmlns:a16="http://schemas.microsoft.com/office/drawing/2014/main" id="{9A888845-702F-4255-9C1B-82E0DBCA4DC5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22DBE419-5825-42FC-8A68-32F7BF373B77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FA2E5586-27CA-4BF8-B076-383D4E5E9CB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6BADC80-74EA-4093-94B8-2B57F68FD1D8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57" name="Graphic 42">
              <a:extLst>
                <a:ext uri="{FF2B5EF4-FFF2-40B4-BE49-F238E27FC236}">
                  <a16:creationId xmlns:a16="http://schemas.microsoft.com/office/drawing/2014/main" id="{BFA9F52E-93C8-47F4-88E3-BDC8247E1830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54E24622-0387-433E-82BF-84D08C3905C8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01C570B7-C941-48C9-B4DF-4A879F2FE10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98B0C69C-C402-42C7-BEED-F25380BF0765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63157511-D43C-4555-8DFF-228BD5191FA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F8A6BD5E-AE51-495E-A97B-65D98DC6B4E1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C1F52B5-570E-4103-B06C-AA7ED1CACB39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F4104CB6-7C14-4DAE-AD78-86EEB833A414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C0F8F235-261E-4336-A0CE-6A19625BE5FE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43687C3-EADD-49D3-BA73-81B3E98CD1B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D8357641-D1C5-4B2F-B365-CB9A77A9E1CB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6495F8F-0348-43A4-8358-40057088198F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A3AB7FCF-0813-424F-ACF8-027017E9AA29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25AC9BF-5ACD-4CE6-919A-B81D30511CB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AC396447-7DEC-48B7-B978-51DD8EC63955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87375B46-6B92-4464-8171-A51F81DAD3C7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AF4DB2F-0ADB-4695-B312-8F915EF22EEF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59" name="Graphic 42">
              <a:extLst>
                <a:ext uri="{FF2B5EF4-FFF2-40B4-BE49-F238E27FC236}">
                  <a16:creationId xmlns:a16="http://schemas.microsoft.com/office/drawing/2014/main" id="{1FCA7EAD-3184-49B1-B496-D7B65DDA290E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60" name="Graphic 42">
                <a:extLst>
                  <a:ext uri="{FF2B5EF4-FFF2-40B4-BE49-F238E27FC236}">
                    <a16:creationId xmlns:a16="http://schemas.microsoft.com/office/drawing/2014/main" id="{DA94B54E-1DD0-4BF0-8715-7434AE97E1AC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66B162D9-E465-4942-A12E-B67F1FEFDAF2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CB934803-47FF-4567-974F-1F0D936C8850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1EBB755F-67CD-4F4F-98E3-B472216D9716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2515DE91-B6E2-4080-8865-EF498771BD19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2AD28C4D-DEC0-49AE-9873-910583D9BB27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8EBCF16E-F6D6-41F7-A29A-923F1AF570CC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82" name="Rectangle 6">
            <a:extLst>
              <a:ext uri="{FF2B5EF4-FFF2-40B4-BE49-F238E27FC236}">
                <a16:creationId xmlns:a16="http://schemas.microsoft.com/office/drawing/2014/main" id="{CDBE2857-A9C4-41ED-B64A-B9022B7D6FD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29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68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282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5564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64421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26400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52303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93567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39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04793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19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09876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40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66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14360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67249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04108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1373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93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320797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5192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532170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FA98A-A8B0-4699-9FBF-9A5BFAC358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FCD1C8-93FC-413A-9218-F40B292C28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2CAA10-BEA6-4759-8F2C-990D43073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BCD2D-C235-4F1E-B78C-E4BDF3D41333}" type="datetimeFigureOut">
              <a:rPr lang="en-US" smtClean="0"/>
              <a:t>2/1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2EF987-70C8-4FAC-867A-BC856FAF7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F26344-E65E-49E3-815F-436EB8067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4ABE7-E9EE-40C1-8128-7C2931D0A7E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250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1C446A1-265A-4DAE-946F-92FDA59633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8325" y="1514887"/>
            <a:ext cx="3557588" cy="4700016"/>
          </a:xfrm>
          <a:ln>
            <a:solidFill>
              <a:schemeClr val="bg2"/>
            </a:solidFill>
          </a:ln>
        </p:spPr>
        <p:txBody>
          <a:bodyPr bIns="731520" anchor="ctr" anchorCtr="0"/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88160" y="1514887"/>
            <a:ext cx="7068947" cy="470001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b="0" dirty="0"/>
            </a:lvl2pPr>
            <a:lvl3pPr>
              <a:defRPr lang="en-US" b="0" dirty="0"/>
            </a:lvl3pPr>
            <a:lvl4pPr>
              <a:defRPr lang="en-US" b="0" dirty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text</a:t>
            </a:r>
          </a:p>
          <a:p>
            <a:pPr marL="658368" lvl="1" indent="-271694"/>
            <a:r>
              <a:rPr lang="en-US" dirty="0"/>
              <a:t>Second level</a:t>
            </a:r>
          </a:p>
          <a:p>
            <a:pPr marL="914400" lvl="2" indent="-210312"/>
            <a:r>
              <a:rPr lang="en-US" dirty="0"/>
              <a:t>Third level</a:t>
            </a:r>
          </a:p>
          <a:p>
            <a:pPr marL="1197864" lvl="3" indent="-210312"/>
            <a:r>
              <a:rPr lang="en-US" dirty="0"/>
              <a:t>Fourth level</a:t>
            </a:r>
          </a:p>
          <a:p>
            <a:pPr marL="1444752" lvl="4" indent="-182880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F9AA358-93D1-4A98-8192-5C6848FF5637}"/>
              </a:ext>
            </a:extLst>
          </p:cNvPr>
          <p:cNvGrpSpPr/>
          <p:nvPr userDrawn="1"/>
        </p:nvGrpSpPr>
        <p:grpSpPr>
          <a:xfrm flipH="1" flipV="1">
            <a:off x="4188115" y="2267344"/>
            <a:ext cx="152274" cy="3960685"/>
            <a:chOff x="5814441" y="100216"/>
            <a:chExt cx="152274" cy="3960685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00F9B5-D11A-42C7-A085-B7347EFF12E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DEC9204-FD4F-4CE8-91AF-DE8DF44443BF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62B22EF-7194-4330-9499-C535CE0BFFB9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51B48D0-28E6-4566-AC8C-8BCA46B8EB7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25" name="Graphic 42">
              <a:extLst>
                <a:ext uri="{FF2B5EF4-FFF2-40B4-BE49-F238E27FC236}">
                  <a16:creationId xmlns:a16="http://schemas.microsoft.com/office/drawing/2014/main" id="{C6B1C5CA-41F1-4426-98F4-3E4AF7A60900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315CD34-8FD2-4C9B-AC92-65F0686FC794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DBB9E60F-7FEA-4986-9593-FE7C2A7A0BEE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F87503-2F47-4241-B16F-609CDF979EF7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D31AE9E1-0D40-477D-B828-7B485AA8FEBE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2525459E-750F-4BD8-80DD-701FC6FAF98D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95DC87E-6E80-4FCF-AA30-E2B8D5E5BDC7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9B0C054-0F13-42F8-B62B-6829F5EB2EE0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6FDE56B-60ED-4977-ADE4-AE90854852A3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77ACBB9B-018A-456B-BEA2-D1E41A2F0C44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3826E36-AE13-46DA-ABCB-5DC29475648A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EFF066B-7A01-426B-A324-435302C07BE3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80782F6E-0DE5-4FC5-BD2E-E587B5DBB2E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EC70567F-3B3C-42DF-9F9B-415E4945ACF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D2A115A-5233-4F62-9130-0679A53ABA91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A2B36BAB-71C7-4750-B5B9-39A588F94C17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61E9087-FAFB-4444-93B1-99E04D96852A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AD44082-91D8-4352-A90C-215687FA9652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B01ADED-A270-4CBD-900F-79F3858BD477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A6C86AFB-B5D4-48B9-8578-B6AFFB9D45F5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B01788A0-8803-419B-9D37-17A354FFA10D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349DB3F-FFFC-48F7-8713-8057BC16BE9D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4ED48782-641A-408A-8DE2-B0CAC39562A6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2296E5C-5725-47EA-95EF-53CE28B8AC9D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88F26FF-F2CB-4C73-A5BB-6288378DD8DA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97F1D36-F238-49A7-9CEB-04D36BD61F6F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B6A3E284-85B8-4CAC-B5A8-833FEAD26319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EAD30CB-938D-43F4-BBFA-1452FA30413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2E63A2A-7DB1-4637-9233-D1EFAF23EF3A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285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5.sv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image" Target="../media/image4.png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image" Target="../media/image3.emf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heme" Target="../theme/theme2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tags" Target="../tags/tag1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CFD1D920-036D-4BCE-A963-9A109BD6E29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42" name="Freeform 4">
            <a:extLst>
              <a:ext uri="{FF2B5EF4-FFF2-40B4-BE49-F238E27FC236}">
                <a16:creationId xmlns:a16="http://schemas.microsoft.com/office/drawing/2014/main" id="{13DF9A9F-26BE-4073-8E1D-B518CB89266F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8847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  <p:sldLayoutId id="2147484075" r:id="rId12"/>
    <p:sldLayoutId id="2147484076" r:id="rId13"/>
    <p:sldLayoutId id="2147484077" r:id="rId14"/>
    <p:sldLayoutId id="2147484078" r:id="rId15"/>
    <p:sldLayoutId id="2147484079" r:id="rId16"/>
    <p:sldLayoutId id="2147484080" r:id="rId17"/>
    <p:sldLayoutId id="2147484081" r:id="rId18"/>
    <p:sldLayoutId id="2147484082" r:id="rId19"/>
    <p:sldLayoutId id="2147484083" r:id="rId20"/>
    <p:sldLayoutId id="2147484084" r:id="rId21"/>
    <p:sldLayoutId id="2147484085" r:id="rId22"/>
    <p:sldLayoutId id="2147484086" r:id="rId23"/>
    <p:sldLayoutId id="2147484087" r:id="rId24"/>
    <p:sldLayoutId id="2147484088" r:id="rId25"/>
    <p:sldLayoutId id="2147484089" r:id="rId26"/>
    <p:sldLayoutId id="214748409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9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</a:t>
            </a:r>
            <a:r>
              <a:rPr lang="el-GR" cap="none"/>
              <a:t> </a:t>
            </a:r>
            <a:r>
              <a:rPr lang="en-US" cap="none"/>
              <a:t>ANSYS </a:t>
            </a:r>
            <a:r>
              <a:rPr lang="en-US" cap="none" dirty="0"/>
              <a:t>SIMULATION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60" y="1203870"/>
            <a:ext cx="94595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sys Simulation puts best in class design and simulation capabilities at the fingertips of every designer and engineer </a:t>
            </a:r>
          </a:p>
        </p:txBody>
      </p:sp>
      <p:pic>
        <p:nvPicPr>
          <p:cNvPr id="15" name="Picture 2" descr="D:\000 - CAD Sales Enablement\000 - FY16 CAD Core Plays\SmartHomeSystemIcon.png">
            <a:hlinkClick r:id="" action="ppaction://noaction"/>
            <a:extLst>
              <a:ext uri="{FF2B5EF4-FFF2-40B4-BE49-F238E27FC236}">
                <a16:creationId xmlns:a16="http://schemas.microsoft.com/office/drawing/2014/main" id="{60E4F02E-A259-4F34-9CAC-A15C969E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5FA804F-B89D-4A51-923F-338125FEB5BC}"/>
              </a:ext>
            </a:extLst>
          </p:cNvPr>
          <p:cNvSpPr/>
          <p:nvPr/>
        </p:nvSpPr>
        <p:spPr>
          <a:xfrm>
            <a:off x="495300" y="2009431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73B89E-E5EE-44A0-B407-E8749FE56A48}"/>
              </a:ext>
            </a:extLst>
          </p:cNvPr>
          <p:cNvSpPr/>
          <p:nvPr/>
        </p:nvSpPr>
        <p:spPr>
          <a:xfrm>
            <a:off x="2146155" y="2009431"/>
            <a:ext cx="7508058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 high-fidelity simulation capabilities to support model refinement and validation using Ansys powered static structural, modal and thermal analysis 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F57E4F-D4BB-4956-819D-7A603D6FB45C}"/>
              </a:ext>
            </a:extLst>
          </p:cNvPr>
          <p:cNvSpPr/>
          <p:nvPr/>
        </p:nvSpPr>
        <p:spPr>
          <a:xfrm>
            <a:off x="495300" y="2800642"/>
            <a:ext cx="1510147" cy="11883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0541AF-8B61-4E4B-8B04-2484915A5F14}"/>
              </a:ext>
            </a:extLst>
          </p:cNvPr>
          <p:cNvSpPr/>
          <p:nvPr/>
        </p:nvSpPr>
        <p:spPr>
          <a:xfrm>
            <a:off x="2146158" y="2914246"/>
            <a:ext cx="3668712" cy="9851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66B6A-3E77-48B2-B218-14BB76DF711C}"/>
              </a:ext>
            </a:extLst>
          </p:cNvPr>
          <p:cNvSpPr/>
          <p:nvPr/>
        </p:nvSpPr>
        <p:spPr>
          <a:xfrm>
            <a:off x="495300" y="4052355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3C7E9-DD5D-40AC-9C57-B8362D176E33}"/>
              </a:ext>
            </a:extLst>
          </p:cNvPr>
          <p:cNvSpPr/>
          <p:nvPr/>
        </p:nvSpPr>
        <p:spPr>
          <a:xfrm>
            <a:off x="2146154" y="4306355"/>
            <a:ext cx="3891842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static structural, modal and thermal analysis of parts and assembli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789A15-5BB9-4B4E-8F8F-760DCE1E1678}"/>
              </a:ext>
            </a:extLst>
          </p:cNvPr>
          <p:cNvSpPr/>
          <p:nvPr/>
        </p:nvSpPr>
        <p:spPr>
          <a:xfrm>
            <a:off x="495300" y="5052913"/>
            <a:ext cx="1510147" cy="10972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AA482B-84C6-4447-83B3-0D3ED429729F}"/>
              </a:ext>
            </a:extLst>
          </p:cNvPr>
          <p:cNvSpPr/>
          <p:nvPr/>
        </p:nvSpPr>
        <p:spPr>
          <a:xfrm>
            <a:off x="2146155" y="5052913"/>
            <a:ext cx="4901189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amless integration of design and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 simulation modeling and setup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meshing and contact handling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-fidelity results using Ansys powered solver and meshing technology running in Creo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6F73CB-F21A-4563-BFE4-EC45BDAF13DD}"/>
              </a:ext>
            </a:extLst>
          </p:cNvPr>
          <p:cNvCxnSpPr>
            <a:cxnSpLocks/>
          </p:cNvCxnSpPr>
          <p:nvPr/>
        </p:nvCxnSpPr>
        <p:spPr>
          <a:xfrm>
            <a:off x="2102432" y="2009434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40C08B-7A91-4942-93F3-69DF00B4BFAE}"/>
              </a:ext>
            </a:extLst>
          </p:cNvPr>
          <p:cNvCxnSpPr>
            <a:cxnSpLocks/>
          </p:cNvCxnSpPr>
          <p:nvPr/>
        </p:nvCxnSpPr>
        <p:spPr>
          <a:xfrm>
            <a:off x="2102432" y="2800642"/>
            <a:ext cx="0" cy="11883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EFFFC5-EE6D-4C6F-BDD9-14CBBBBC8E34}"/>
              </a:ext>
            </a:extLst>
          </p:cNvPr>
          <p:cNvCxnSpPr>
            <a:cxnSpLocks/>
          </p:cNvCxnSpPr>
          <p:nvPr/>
        </p:nvCxnSpPr>
        <p:spPr>
          <a:xfrm>
            <a:off x="2102432" y="4052352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73A492-EF94-47DA-B6B5-6D0C36B88682}"/>
              </a:ext>
            </a:extLst>
          </p:cNvPr>
          <p:cNvCxnSpPr>
            <a:cxnSpLocks/>
          </p:cNvCxnSpPr>
          <p:nvPr/>
        </p:nvCxnSpPr>
        <p:spPr>
          <a:xfrm>
            <a:off x="2102432" y="5052912"/>
            <a:ext cx="0" cy="10972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41DC312-D982-416B-AEE5-969709D50E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6424" y="3841207"/>
            <a:ext cx="4332446" cy="2437001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DDBA99A-19B8-4159-B1C2-0AAF9836077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800" t="-1330" r="7156" b="-1151"/>
          <a:stretch/>
        </p:blipFill>
        <p:spPr>
          <a:xfrm>
            <a:off x="5736671" y="2579033"/>
            <a:ext cx="3195666" cy="224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8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8E2477-ED4E-4FB1-873E-581735A41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reo Simulation Product Overview</a:t>
            </a:r>
            <a:endParaRPr lang="fr-FR" dirty="0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C6896FA8-A78B-4EA7-BE17-18D72A2617E2}"/>
              </a:ext>
            </a:extLst>
          </p:cNvPr>
          <p:cNvGraphicFramePr>
            <a:graphicFrameLocks/>
          </p:cNvGraphicFramePr>
          <p:nvPr/>
        </p:nvGraphicFramePr>
        <p:xfrm>
          <a:off x="482600" y="1311435"/>
          <a:ext cx="11311041" cy="4990668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3749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9147">
                  <a:extLst>
                    <a:ext uri="{9D8B030D-6E8A-4147-A177-3AD203B41FA5}">
                      <a16:colId xmlns:a16="http://schemas.microsoft.com/office/drawing/2014/main" val="1298929262"/>
                    </a:ext>
                  </a:extLst>
                </a:gridCol>
                <a:gridCol w="17891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91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+mn-lt"/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eo Ansys Simulatio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eo Ansys Advanced </a:t>
                      </a:r>
                      <a:b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Future) Creo 9.0+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TC Creo Simulation Extensio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TC Creo Advanced  Simulation Extensio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dsurface shell compression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9.0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9.0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oints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-linear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linear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erials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ite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ment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alization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-stress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al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tigue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nsient Structural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nsient Thermal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84471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ndom Vibration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sic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op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est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Planned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ynamic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alysis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4" name="Picture 2" descr="D:\000 - CAD Sales Enablement\000 - FY16 CAD Core Plays\SmartHomeSystemIcon.png">
            <a:hlinkClick r:id="" action="ppaction://noaction"/>
            <a:extLst>
              <a:ext uri="{FF2B5EF4-FFF2-40B4-BE49-F238E27FC236}">
                <a16:creationId xmlns:a16="http://schemas.microsoft.com/office/drawing/2014/main" id="{C143C185-5D50-4E4A-AA36-F9ED4BED00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7084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056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1_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FEB95A9-8402-45D3-8C19-F223C6D6EA2F}" vid="{17A1DA04-7A97-47C6-9762-348D040599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50</TotalTime>
  <Words>315</Words>
  <Application>Microsoft Office PowerPoint</Application>
  <PresentationFormat>Widescreen</PresentationFormat>
  <Paragraphs>81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PTCRaleway</vt:lpstr>
      <vt:lpstr>Arial</vt:lpstr>
      <vt:lpstr>Century Gothic</vt:lpstr>
      <vt:lpstr>Wingdings</vt:lpstr>
      <vt:lpstr>MS PGothic</vt:lpstr>
      <vt:lpstr>Arial Narrow</vt:lpstr>
      <vt:lpstr>PTC PowerPoint Template</vt:lpstr>
      <vt:lpstr>1_PTC PowerPoint Template</vt:lpstr>
      <vt:lpstr>think-cell Slide</vt:lpstr>
      <vt:lpstr>CREO ANSYS SIMULATION</vt:lpstr>
      <vt:lpstr>Creo Simulation Product Over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4-02-14T08:1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